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srgbClr val="FF0000"/>
    </p:penClr>
  </p:showPr>
  <p:clrMru>
    <a:srgbClr val="23669D"/>
    <a:srgbClr val="90C377"/>
    <a:srgbClr val="009900"/>
    <a:srgbClr val="ABC674"/>
    <a:srgbClr val="00B5CB"/>
    <a:srgbClr val="CCECFF"/>
    <a:srgbClr val="D7EDF4"/>
    <a:srgbClr val="0099C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4C1A8A3-306A-4EB7-A6B1-4F7E0EB9C5D6}" styleName="Средний стиль 3 -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14" autoAdjust="0"/>
    <p:restoredTop sz="99754" autoAdjust="0"/>
  </p:normalViewPr>
  <p:slideViewPr>
    <p:cSldViewPr snapToGrid="0">
      <p:cViewPr>
        <p:scale>
          <a:sx n="85" d="100"/>
          <a:sy n="85" d="100"/>
        </p:scale>
        <p:origin x="-2160" y="-870"/>
      </p:cViewPr>
      <p:guideLst>
        <p:guide orient="horz" pos="4028"/>
        <p:guide orient="horz" pos="2102"/>
        <p:guide pos="3207"/>
      </p:guideLst>
    </p:cSldViewPr>
  </p:slideViewPr>
  <p:outlineViewPr>
    <p:cViewPr>
      <p:scale>
        <a:sx n="33" d="100"/>
        <a:sy n="33" d="100"/>
      </p:scale>
      <p:origin x="18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3736200" cy="73736200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RB8.lYDeEWTPepbkWFX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21</TotalTime>
  <Words>797</Words>
  <Application>Microsoft Office PowerPoint</Application>
  <PresentationFormat>Лист A4 (210x297 мм)</PresentationFormat>
  <Paragraphs>330</Paragraphs>
  <Slides>14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Шаблон оформления</vt:lpstr>
      </vt:variant>
      <vt:variant>
        <vt:i4>6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4</vt:i4>
      </vt:variant>
    </vt:vector>
  </HeadingPairs>
  <TitlesOfParts>
    <vt:vector size="27" baseType="lpstr">
      <vt:lpstr>Arial</vt:lpstr>
      <vt:lpstr>Calibri</vt:lpstr>
      <vt:lpstr>ＭＳ Ｐゴシック</vt:lpstr>
      <vt:lpstr>Times New Roman</vt:lpstr>
      <vt:lpstr>Gill Sans for CW</vt:lpstr>
      <vt:lpstr>5_Universal Template_RU</vt:lpstr>
      <vt:lpstr>5_Universal Template_RU</vt:lpstr>
      <vt:lpstr>5_Universal Template_RU</vt:lpstr>
      <vt:lpstr>5_Universal Template_RU</vt:lpstr>
      <vt:lpstr>5_Universal Template_RU</vt:lpstr>
      <vt:lpstr>5_Universal Template_RU</vt:lpstr>
      <vt:lpstr>Лист</vt:lpstr>
      <vt:lpstr>Диаграмма Microsoft Excel</vt:lpstr>
      <vt:lpstr>Об организованном завершении весенних полевых работ  Задачи по вовлечению в оборот сельхозугодий  в 2015 году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ведская Нина</dc:creator>
  <cp:lastModifiedBy>enn</cp:lastModifiedBy>
  <cp:revision>670</cp:revision>
  <cp:lastPrinted>2015-06-03T20:06:50Z</cp:lastPrinted>
  <dcterms:created xsi:type="dcterms:W3CDTF">2014-02-04T07:17:20Z</dcterms:created>
  <dcterms:modified xsi:type="dcterms:W3CDTF">2015-06-08T14:32:21Z</dcterms:modified>
</cp:coreProperties>
</file>